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4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2147375892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893" r:id="rId12"/>
    <p:sldId id="2147375891" r:id="rId13"/>
    <p:sldId id="2147375739" r:id="rId14"/>
    <p:sldId id="2147375890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893"/>
            <p14:sldId id="2147375891"/>
            <p14:sldId id="2147375739"/>
            <p14:sldId id="2147375890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197FF"/>
    <a:srgbClr val="C30B3E"/>
    <a:srgbClr val="AAC1FF"/>
    <a:srgbClr val="43C7A1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92"/>
    <p:restoredTop sz="94694"/>
  </p:normalViewPr>
  <p:slideViewPr>
    <p:cSldViewPr snapToGrid="0" showGuides="1">
      <p:cViewPr varScale="1">
        <p:scale>
          <a:sx n="121" d="100"/>
          <a:sy n="121" d="100"/>
        </p:scale>
        <p:origin x="62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117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31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31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0. 31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8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9.xml"/><Relationship Id="rId6" Type="http://schemas.openxmlformats.org/officeDocument/2006/relationships/hyperlink" Target="http://www.hypatos.ai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59" Type="http://schemas.openxmlformats.org/officeDocument/2006/relationships/tags" Target="../tags/tag169.xml"/><Relationship Id="rId170" Type="http://schemas.openxmlformats.org/officeDocument/2006/relationships/tags" Target="../tags/tag180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53" Type="http://schemas.openxmlformats.org/officeDocument/2006/relationships/tags" Target="../tags/tag63.xml"/><Relationship Id="rId74" Type="http://schemas.openxmlformats.org/officeDocument/2006/relationships/tags" Target="../tags/tag84.xml"/><Relationship Id="rId128" Type="http://schemas.openxmlformats.org/officeDocument/2006/relationships/tags" Target="../tags/tag138.xml"/><Relationship Id="rId149" Type="http://schemas.openxmlformats.org/officeDocument/2006/relationships/tags" Target="../tags/tag159.xml"/><Relationship Id="rId5" Type="http://schemas.openxmlformats.org/officeDocument/2006/relationships/tags" Target="../tags/tag15.xml"/><Relationship Id="rId95" Type="http://schemas.openxmlformats.org/officeDocument/2006/relationships/tags" Target="../tags/tag105.xml"/><Relationship Id="rId160" Type="http://schemas.openxmlformats.org/officeDocument/2006/relationships/tags" Target="../tags/tag170.xml"/><Relationship Id="rId181" Type="http://schemas.openxmlformats.org/officeDocument/2006/relationships/image" Target="../media/image15.emf"/><Relationship Id="rId22" Type="http://schemas.openxmlformats.org/officeDocument/2006/relationships/tags" Target="../tags/tag32.xml"/><Relationship Id="rId43" Type="http://schemas.openxmlformats.org/officeDocument/2006/relationships/tags" Target="../tags/tag53.xml"/><Relationship Id="rId64" Type="http://schemas.openxmlformats.org/officeDocument/2006/relationships/tags" Target="../tags/tag74.xml"/><Relationship Id="rId118" Type="http://schemas.openxmlformats.org/officeDocument/2006/relationships/tags" Target="../tags/tag128.xml"/><Relationship Id="rId139" Type="http://schemas.openxmlformats.org/officeDocument/2006/relationships/tags" Target="../tags/tag149.xml"/><Relationship Id="rId85" Type="http://schemas.openxmlformats.org/officeDocument/2006/relationships/tags" Target="../tags/tag95.xml"/><Relationship Id="rId150" Type="http://schemas.openxmlformats.org/officeDocument/2006/relationships/tags" Target="../tags/tag160.xml"/><Relationship Id="rId171" Type="http://schemas.openxmlformats.org/officeDocument/2006/relationships/tags" Target="../tags/tag181.xml"/><Relationship Id="rId12" Type="http://schemas.openxmlformats.org/officeDocument/2006/relationships/tags" Target="../tags/tag22.xml"/><Relationship Id="rId33" Type="http://schemas.openxmlformats.org/officeDocument/2006/relationships/tags" Target="../tags/tag43.xml"/><Relationship Id="rId108" Type="http://schemas.openxmlformats.org/officeDocument/2006/relationships/tags" Target="../tags/tag118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5" Type="http://schemas.openxmlformats.org/officeDocument/2006/relationships/tags" Target="../tags/tag85.xml"/><Relationship Id="rId96" Type="http://schemas.openxmlformats.org/officeDocument/2006/relationships/tags" Target="../tags/tag106.xml"/><Relationship Id="rId140" Type="http://schemas.openxmlformats.org/officeDocument/2006/relationships/tags" Target="../tags/tag150.xml"/><Relationship Id="rId161" Type="http://schemas.openxmlformats.org/officeDocument/2006/relationships/tags" Target="../tags/tag171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35" Type="http://schemas.openxmlformats.org/officeDocument/2006/relationships/tags" Target="../tags/tag145.xml"/><Relationship Id="rId151" Type="http://schemas.openxmlformats.org/officeDocument/2006/relationships/tags" Target="../tags/tag161.xml"/><Relationship Id="rId156" Type="http://schemas.openxmlformats.org/officeDocument/2006/relationships/tags" Target="../tags/tag166.xml"/><Relationship Id="rId177" Type="http://schemas.openxmlformats.org/officeDocument/2006/relationships/tags" Target="../tags/tag187.xml"/><Relationship Id="rId172" Type="http://schemas.openxmlformats.org/officeDocument/2006/relationships/tags" Target="../tags/tag182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tags" Target="../tags/tag151.xml"/><Relationship Id="rId146" Type="http://schemas.openxmlformats.org/officeDocument/2006/relationships/tags" Target="../tags/tag156.xml"/><Relationship Id="rId167" Type="http://schemas.openxmlformats.org/officeDocument/2006/relationships/tags" Target="../tags/tag177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162" Type="http://schemas.openxmlformats.org/officeDocument/2006/relationships/tags" Target="../tags/tag17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157" Type="http://schemas.openxmlformats.org/officeDocument/2006/relationships/tags" Target="../tags/tag167.xml"/><Relationship Id="rId178" Type="http://schemas.openxmlformats.org/officeDocument/2006/relationships/slideLayout" Target="../slideLayouts/slideLayout3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52" Type="http://schemas.openxmlformats.org/officeDocument/2006/relationships/tags" Target="../tags/tag162.xml"/><Relationship Id="rId173" Type="http://schemas.openxmlformats.org/officeDocument/2006/relationships/tags" Target="../tags/tag183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147" Type="http://schemas.openxmlformats.org/officeDocument/2006/relationships/tags" Target="../tags/tag157.xml"/><Relationship Id="rId168" Type="http://schemas.openxmlformats.org/officeDocument/2006/relationships/tags" Target="../tags/tag17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tags" Target="../tags/tag152.xml"/><Relationship Id="rId163" Type="http://schemas.openxmlformats.org/officeDocument/2006/relationships/tags" Target="../tags/tag173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158" Type="http://schemas.openxmlformats.org/officeDocument/2006/relationships/tags" Target="../tags/tag168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3" Type="http://schemas.openxmlformats.org/officeDocument/2006/relationships/tags" Target="../tags/tag163.xml"/><Relationship Id="rId174" Type="http://schemas.openxmlformats.org/officeDocument/2006/relationships/tags" Target="../tags/tag184.xml"/><Relationship Id="rId179" Type="http://schemas.openxmlformats.org/officeDocument/2006/relationships/notesSlide" Target="../notesSlides/notesSlide4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143" Type="http://schemas.openxmlformats.org/officeDocument/2006/relationships/tags" Target="../tags/tag153.xml"/><Relationship Id="rId148" Type="http://schemas.openxmlformats.org/officeDocument/2006/relationships/tags" Target="../tags/tag158.xml"/><Relationship Id="rId164" Type="http://schemas.openxmlformats.org/officeDocument/2006/relationships/tags" Target="../tags/tag174.xml"/><Relationship Id="rId169" Type="http://schemas.openxmlformats.org/officeDocument/2006/relationships/tags" Target="../tags/tag17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80" Type="http://schemas.openxmlformats.org/officeDocument/2006/relationships/oleObject" Target="../embeddings/oleObject10.bin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54" Type="http://schemas.openxmlformats.org/officeDocument/2006/relationships/tags" Target="../tags/tag164.xml"/><Relationship Id="rId175" Type="http://schemas.openxmlformats.org/officeDocument/2006/relationships/tags" Target="../tags/tag185.xml"/><Relationship Id="rId16" Type="http://schemas.openxmlformats.org/officeDocument/2006/relationships/tags" Target="../tags/tag26.xml"/><Relationship Id="rId37" Type="http://schemas.openxmlformats.org/officeDocument/2006/relationships/tags" Target="../tags/tag47.xml"/><Relationship Id="rId58" Type="http://schemas.openxmlformats.org/officeDocument/2006/relationships/tags" Target="../tags/tag68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44" Type="http://schemas.openxmlformats.org/officeDocument/2006/relationships/tags" Target="../tags/tag154.xml"/><Relationship Id="rId90" Type="http://schemas.openxmlformats.org/officeDocument/2006/relationships/tags" Target="../tags/tag100.xml"/><Relationship Id="rId165" Type="http://schemas.openxmlformats.org/officeDocument/2006/relationships/tags" Target="../tags/tag175.xml"/><Relationship Id="rId27" Type="http://schemas.openxmlformats.org/officeDocument/2006/relationships/tags" Target="../tags/tag37.xml"/><Relationship Id="rId48" Type="http://schemas.openxmlformats.org/officeDocument/2006/relationships/tags" Target="../tags/tag58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34" Type="http://schemas.openxmlformats.org/officeDocument/2006/relationships/tags" Target="../tags/tag144.xml"/><Relationship Id="rId80" Type="http://schemas.openxmlformats.org/officeDocument/2006/relationships/tags" Target="../tags/tag90.xml"/><Relationship Id="rId155" Type="http://schemas.openxmlformats.org/officeDocument/2006/relationships/tags" Target="../tags/tag165.xml"/><Relationship Id="rId176" Type="http://schemas.openxmlformats.org/officeDocument/2006/relationships/tags" Target="../tags/tag186.xml"/><Relationship Id="rId17" Type="http://schemas.openxmlformats.org/officeDocument/2006/relationships/tags" Target="../tags/tag27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24" Type="http://schemas.openxmlformats.org/officeDocument/2006/relationships/tags" Target="../tags/tag134.xml"/><Relationship Id="rId70" Type="http://schemas.openxmlformats.org/officeDocument/2006/relationships/tags" Target="../tags/tag80.xml"/><Relationship Id="rId91" Type="http://schemas.openxmlformats.org/officeDocument/2006/relationships/tags" Target="../tags/tag101.xml"/><Relationship Id="rId145" Type="http://schemas.openxmlformats.org/officeDocument/2006/relationships/tags" Target="../tags/tag155.xml"/><Relationship Id="rId166" Type="http://schemas.openxmlformats.org/officeDocument/2006/relationships/tags" Target="../tags/tag176.xml"/><Relationship Id="rId1" Type="http://schemas.openxmlformats.org/officeDocument/2006/relationships/tags" Target="../tags/tag11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35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 8713	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2002D5-880C-81B4-8884-C0B51084244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661878" y="194244"/>
            <a:ext cx="881260" cy="79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346288" y="3706719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11" name="Rechteck 6">
            <a:extLst>
              <a:ext uri="{FF2B5EF4-FFF2-40B4-BE49-F238E27FC236}">
                <a16:creationId xmlns:a16="http://schemas.microsoft.com/office/drawing/2014/main" id="{80C21CE7-FD18-B54E-4BE8-190C16AC6CCA}"/>
              </a:ext>
            </a:extLst>
          </p:cNvPr>
          <p:cNvSpPr/>
          <p:nvPr/>
        </p:nvSpPr>
        <p:spPr>
          <a:xfrm>
            <a:off x="3310487" y="3713707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Lucia </a:t>
            </a:r>
            <a:r>
              <a:rPr kumimoji="0" lang="de-DE" b="1" i="0" u="none" strike="noStrike" kern="1200" cap="none" spc="0" normalizeH="0" baseline="0" noProof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Ferreiro</a:t>
            </a: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 Martinez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r. Customer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ucces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err="1">
                <a:latin typeface="Open Sauce One" pitchFamily="2" charset="0"/>
              </a:rPr>
              <a:t>lucia.ferreiro.martinez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@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>
                <a:latin typeface="Open Sauce One" pitchFamily="2" charset="0"/>
              </a:rPr>
              <a:t>+49 176 73573508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560FC5E-064F-52CC-8B42-4EBD281403B8}"/>
              </a:ext>
            </a:extLst>
          </p:cNvPr>
          <p:cNvSpPr/>
          <p:nvPr/>
        </p:nvSpPr>
        <p:spPr>
          <a:xfrm>
            <a:off x="347472" y="1556576"/>
            <a:ext cx="3000846" cy="194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Dr. Ulrich Erxleben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hief Executive Officer</a:t>
            </a:r>
          </a:p>
          <a:p>
            <a:pPr>
              <a:lnSpc>
                <a:spcPct val="150000"/>
              </a:lnSpc>
              <a:defRPr/>
            </a:pPr>
            <a:r>
              <a:rPr lang="de-DE" sz="1200" err="1">
                <a:latin typeface="Open Sauce One" pitchFamily="2" charset="0"/>
              </a:rPr>
              <a:t>uli.erxleben@hypatos.ai</a:t>
            </a:r>
            <a:br>
              <a:rPr lang="de-DE" sz="1200"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157 736 362 22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63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 dirty="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909022"/>
              </p:ext>
            </p:extLst>
          </p:nvPr>
        </p:nvGraphicFramePr>
        <p:xfrm>
          <a:off x="406268" y="1604864"/>
          <a:ext cx="11342819" cy="4082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KTM SAP DEV Team onboarding for integration implementation. KTM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KTM to revisit Integration and Project Timelines based on resource onboarding. Dependent on A001. Bi-Weekly follow up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s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nnoation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1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kt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889480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" name="Object 278" hidden="1">
            <a:extLst>
              <a:ext uri="{FF2B5EF4-FFF2-40B4-BE49-F238E27FC236}">
                <a16:creationId xmlns:a16="http://schemas.microsoft.com/office/drawing/2014/main" id="{82FC2E4A-4704-89A8-10BF-2E7B8B189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0032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0" imgW="500" imgH="501" progId="TCLayout.ActiveDocument.1">
                  <p:embed/>
                </p:oleObj>
              </mc:Choice>
              <mc:Fallback>
                <p:oleObj name="think-cell Slide" r:id="rId180" imgW="500" imgH="501" progId="TCLayout.ActiveDocument.1">
                  <p:embed/>
                  <p:pic>
                    <p:nvPicPr>
                      <p:cNvPr id="279" name="Object 278" hidden="1">
                        <a:extLst>
                          <a:ext uri="{FF2B5EF4-FFF2-40B4-BE49-F238E27FC236}">
                            <a16:creationId xmlns:a16="http://schemas.microsoft.com/office/drawing/2014/main" id="{82FC2E4A-4704-89A8-10BF-2E7B8B189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67105056-0349-0D57-D228-483B57B5D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04813"/>
            <a:ext cx="11402881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April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D00131C-9FB6-4799-2FDF-7F4DEDAF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82" name="Tartalom helye 4">
            <a:extLst>
              <a:ext uri="{FF2B5EF4-FFF2-40B4-BE49-F238E27FC236}">
                <a16:creationId xmlns:a16="http://schemas.microsoft.com/office/drawing/2014/main" id="{4A48F9F8-8D48-4F15-AC68-3CE3E3BB70DB}"/>
              </a:ext>
            </a:extLst>
          </p:cNvPr>
          <p:cNvSpPr txBox="1">
            <a:spLocks/>
          </p:cNvSpPr>
          <p:nvPr/>
        </p:nvSpPr>
        <p:spPr>
          <a:xfrm>
            <a:off x="620713" y="125232"/>
            <a:ext cx="11341099" cy="39137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EDCAB65-57F4-7ACB-DBB2-057B490AD2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921250" y="1978025"/>
            <a:ext cx="293688" cy="32829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5" name="Textplatzhalter 2">
            <a:extLst>
              <a:ext uri="{FF2B5EF4-FFF2-40B4-BE49-F238E27FC236}">
                <a16:creationId xmlns:a16="http://schemas.microsoft.com/office/drawing/2014/main" id="{1CBB2EFB-3933-493C-2B02-4EF44601DF2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600575" y="1701800"/>
            <a:ext cx="5603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EAEB1D-D5DE-4B78-9665-882332B11E2D}" type="datetime'''D''''''''''''''''''''''''''''''''''''''''''e''''''c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8" name="Textplatzhalter 2">
            <a:extLst>
              <a:ext uri="{FF2B5EF4-FFF2-40B4-BE49-F238E27FC236}">
                <a16:creationId xmlns:a16="http://schemas.microsoft.com/office/drawing/2014/main" id="{6BC169EE-35C2-4D2C-46AF-68452339FC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160963" y="1701800"/>
            <a:ext cx="8286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2D3CCFB-18B9-47FD-BD2B-0A9BB6BCCE25}" type="datetime'''''''''''''''''''''''''''''''''''''J''''an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a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79" name="Textplatzhalter 2">
            <a:extLst>
              <a:ext uri="{FF2B5EF4-FFF2-40B4-BE49-F238E27FC236}">
                <a16:creationId xmlns:a16="http://schemas.microsoft.com/office/drawing/2014/main" id="{4445B8E0-DF2C-4C42-10E8-B4554BD0B62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989638" y="1701800"/>
            <a:ext cx="7747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70D1D56-4E51-4AD5-9877-DF82035ADA57}" type="datetime'''F''''''''''''''''eb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eb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4" name="Textplatzhalter 2">
            <a:extLst>
              <a:ext uri="{FF2B5EF4-FFF2-40B4-BE49-F238E27FC236}">
                <a16:creationId xmlns:a16="http://schemas.microsoft.com/office/drawing/2014/main" id="{7C6C1DA6-05B4-F727-5D76-2D84D35437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764338" y="1701800"/>
            <a:ext cx="8286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395DD47-F1AD-4862-9A9E-BC97AA98BB10}" type="datetime'''''''M''''''''''''''''''''a''''''''''''''''''''''r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31DCCAD-8928-CE8B-159A-283464436A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93013" y="1701800"/>
            <a:ext cx="800100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61AFA08-8A97-4233-8296-AAEA679AFD21}" type="datetime'''''''''''''''''''''''''''A''''''''''p''''''''''''r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pr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8" name="Textplatzhalter 2">
            <a:extLst>
              <a:ext uri="{FF2B5EF4-FFF2-40B4-BE49-F238E27FC236}">
                <a16:creationId xmlns:a16="http://schemas.microsoft.com/office/drawing/2014/main" id="{A3EABF9C-4FC4-3B33-689E-CA95F859556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93113" y="1701800"/>
            <a:ext cx="82867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9546E5-F91C-4BD3-B299-A312E4AC5E03}" type="datetime'''''''''''''''M''''a''''''''''''''''''''y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y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89" name="Textplatzhalter 2">
            <a:extLst>
              <a:ext uri="{FF2B5EF4-FFF2-40B4-BE49-F238E27FC236}">
                <a16:creationId xmlns:a16="http://schemas.microsoft.com/office/drawing/2014/main" id="{719C2FC8-7A38-5D07-EFFD-B10BA9C00E0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221788" y="1701800"/>
            <a:ext cx="80168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3460E11-94FF-4E36-95A1-894BEF0B5AED}" type="datetime'''J''''''''''u''''''''''''''''''''''''''''''''''''''''''n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n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90" name="Textplatzhalter 2">
            <a:extLst>
              <a:ext uri="{FF2B5EF4-FFF2-40B4-BE49-F238E27FC236}">
                <a16:creationId xmlns:a16="http://schemas.microsoft.com/office/drawing/2014/main" id="{100D2DCF-BC06-97C6-CAC6-736CF5DC4F2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023475" y="1701800"/>
            <a:ext cx="747713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41DF5E8-0758-4725-B104-6FA843F40C0B}" type="datetime'J''''''''''''''''''''u''''''''''''''''''''''l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3" name="Textplatzhalter 2">
            <a:extLst>
              <a:ext uri="{FF2B5EF4-FFF2-40B4-BE49-F238E27FC236}">
                <a16:creationId xmlns:a16="http://schemas.microsoft.com/office/drawing/2014/main" id="{74BFC5A8-651B-3576-EA1A-F5E964B999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0057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9C2722-CA7F-4684-A8A3-C790000578FA}" type="datetime'''''''''''''''''''''''''''''''''5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4" name="Textplatzhalter 2">
            <a:extLst>
              <a:ext uri="{FF2B5EF4-FFF2-40B4-BE49-F238E27FC236}">
                <a16:creationId xmlns:a16="http://schemas.microsoft.com/office/drawing/2014/main" id="{0A83FCB7-A3C8-06CD-688F-6BAB08C5035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7879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F2EADFB-D1E7-4075-B85F-E4E70C0BA562}" type="datetime'''5''''''''''''''''''''''''''''''''''''''''1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6" name="Textplatzhalter 2">
            <a:extLst>
              <a:ext uri="{FF2B5EF4-FFF2-40B4-BE49-F238E27FC236}">
                <a16:creationId xmlns:a16="http://schemas.microsoft.com/office/drawing/2014/main" id="{70352C19-78B5-2246-8DF1-4712D1A485F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91A9690-7B78-421A-ACEA-C91BBA4C45B5}" type="datetime'''''''''''5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69" name="Textplatzhalter 2">
            <a:extLst>
              <a:ext uri="{FF2B5EF4-FFF2-40B4-BE49-F238E27FC236}">
                <a16:creationId xmlns:a16="http://schemas.microsoft.com/office/drawing/2014/main" id="{50CD2D7E-A3A3-5B5A-69A5-E8995B90E5A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16096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3AAD832-F172-4FBA-904B-59F7AE4A958B}" type="datetime'''''''''''''''''''''0''''''''''''''''''1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0" name="Textplatzhalter 2">
            <a:extLst>
              <a:ext uri="{FF2B5EF4-FFF2-40B4-BE49-F238E27FC236}">
                <a16:creationId xmlns:a16="http://schemas.microsoft.com/office/drawing/2014/main" id="{B133124B-2621-01E9-E022-FB23786955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34828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5A8D9EA-1D13-43FD-8FD9-270929E7D6BF}" type="datetime'''''''''''''''''''''''''''''''''''''''''''''''''0''''''''2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1" name="Textplatzhalter 2">
            <a:extLst>
              <a:ext uri="{FF2B5EF4-FFF2-40B4-BE49-F238E27FC236}">
                <a16:creationId xmlns:a16="http://schemas.microsoft.com/office/drawing/2014/main" id="{4C331291-A5F5-DB7F-0417-CC43958A80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3561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8B409D-23F1-4D21-8BCD-211EA3160A0E}" type="datetime'''''''''''''''''''''''''''''''''0''''''''3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2" name="Textplatzhalter 2">
            <a:extLst>
              <a:ext uri="{FF2B5EF4-FFF2-40B4-BE49-F238E27FC236}">
                <a16:creationId xmlns:a16="http://schemas.microsoft.com/office/drawing/2014/main" id="{E0C068D9-F08B-085B-DDDB-A6418BBCF8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7229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113287F-241E-4D7F-A323-1568A9A20962}" type="datetime'0''''''''''''''''''4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3" name="Textplatzhalter 2">
            <a:extLst>
              <a:ext uri="{FF2B5EF4-FFF2-40B4-BE49-F238E27FC236}">
                <a16:creationId xmlns:a16="http://schemas.microsoft.com/office/drawing/2014/main" id="{1A5B3081-1E9B-C608-1E6C-41BD855DA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10263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435FE5-C7C9-4E68-8407-78245E984695}" type="datetime'''''''''''0''''''''''''''5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4" name="Textplatzhalter 2">
            <a:extLst>
              <a:ext uri="{FF2B5EF4-FFF2-40B4-BE49-F238E27FC236}">
                <a16:creationId xmlns:a16="http://schemas.microsoft.com/office/drawing/2014/main" id="{1EC28A3D-ACD7-CCE5-C940-56CFED1F16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0960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70620E-797D-4C34-9664-E879DBC50086}" type="datetime'''06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5" name="Textplatzhalter 2">
            <a:extLst>
              <a:ext uri="{FF2B5EF4-FFF2-40B4-BE49-F238E27FC236}">
                <a16:creationId xmlns:a16="http://schemas.microsoft.com/office/drawing/2014/main" id="{4D33FC8A-667A-00BC-6F67-6DBE57B973E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8332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E57D94-745A-45CB-95F4-4BF3DB094DDF}" type="datetime'''''''''''''''''''''''''''''''''''0''''''''7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6" name="Textplatzhalter 2">
            <a:extLst>
              <a:ext uri="{FF2B5EF4-FFF2-40B4-BE49-F238E27FC236}">
                <a16:creationId xmlns:a16="http://schemas.microsoft.com/office/drawing/2014/main" id="{49DC5BA0-4A4A-F919-91A6-E409A44CA9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47065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248472-CCE6-41A9-8280-9E5B849171F5}" type="datetime'''''''''0''''''''''''8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7" name="Textplatzhalter 2">
            <a:extLst>
              <a:ext uri="{FF2B5EF4-FFF2-40B4-BE49-F238E27FC236}">
                <a16:creationId xmlns:a16="http://schemas.microsoft.com/office/drawing/2014/main" id="{07F4AC07-E34A-59B9-0C94-00C148446AB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57975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8D7522-890A-418A-95CC-4CDAB668B1E0}" type="datetime'''''''''''''''''''''''''''0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0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78" name="Textplatzhalter 2">
            <a:extLst>
              <a:ext uri="{FF2B5EF4-FFF2-40B4-BE49-F238E27FC236}">
                <a16:creationId xmlns:a16="http://schemas.microsoft.com/office/drawing/2014/main" id="{AC34D92A-A5E9-30FE-BC60-363BD88A48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84371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1B40E31-9356-4A9C-8A4C-81F6B2E53F51}" type="datetime'''''''''''''1''''''''''''''''''''''''''''''''''''0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0" name="Textplatzhalter 2">
            <a:extLst>
              <a:ext uri="{FF2B5EF4-FFF2-40B4-BE49-F238E27FC236}">
                <a16:creationId xmlns:a16="http://schemas.microsoft.com/office/drawing/2014/main" id="{CE1DDEFA-2FF9-4998-ABB9-B3186E1894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0310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3BF81F8-B2B9-45CE-9C27-0CD9AA9846FB}" type="datetime'''''''''''1''''''''''''1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1" name="Textplatzhalter 2">
            <a:extLst>
              <a:ext uri="{FF2B5EF4-FFF2-40B4-BE49-F238E27FC236}">
                <a16:creationId xmlns:a16="http://schemas.microsoft.com/office/drawing/2014/main" id="{413F11F3-AD45-53D9-8B68-C646E8F9067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21836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6F5AEA-7FD3-4BDF-8756-B8AD73A8F5E8}" type="datetime'''''''12''''''''''''''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5" name="Textplatzhalter 2">
            <a:extLst>
              <a:ext uri="{FF2B5EF4-FFF2-40B4-BE49-F238E27FC236}">
                <a16:creationId xmlns:a16="http://schemas.microsoft.com/office/drawing/2014/main" id="{C92D7570-B7C8-A182-3218-810155D97A4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40568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8E6943-9D27-4151-8EA9-5D6E4B91E162}" type="datetime'1''''''''''''''3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7" name="Textplatzhalter 2">
            <a:extLst>
              <a:ext uri="{FF2B5EF4-FFF2-40B4-BE49-F238E27FC236}">
                <a16:creationId xmlns:a16="http://schemas.microsoft.com/office/drawing/2014/main" id="{F1449B2F-38FB-F033-F697-11905E8376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593013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C654D5D-4F5B-4E86-B41F-AC5EA139BEB6}" type="datetime'''1''''4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8" name="Textplatzhalter 2">
            <a:extLst>
              <a:ext uri="{FF2B5EF4-FFF2-40B4-BE49-F238E27FC236}">
                <a16:creationId xmlns:a16="http://schemas.microsoft.com/office/drawing/2014/main" id="{FB1E58FC-6433-90E1-C6D3-A041C4B0468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7875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1C9BE2-9DA9-4BF5-B2DB-A0E717DD14C4}" type="datetime'''''''''''''''''1''''5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89" name="Textplatzhalter 2">
            <a:extLst>
              <a:ext uri="{FF2B5EF4-FFF2-40B4-BE49-F238E27FC236}">
                <a16:creationId xmlns:a16="http://schemas.microsoft.com/office/drawing/2014/main" id="{822BE865-A8D9-8F1C-1B37-D67A39513E8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6607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111CF19-2FEB-4E91-8665-2D0943E2C3A8}" type="datetime'''''''1''''6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0" name="Textplatzhalter 2">
            <a:extLst>
              <a:ext uri="{FF2B5EF4-FFF2-40B4-BE49-F238E27FC236}">
                <a16:creationId xmlns:a16="http://schemas.microsoft.com/office/drawing/2014/main" id="{3BC682D2-8067-6149-8340-5F810211CF1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1534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9A65FC-292B-4837-998F-BC71FC9B94EF}" type="datetime'''''''''1''''''''7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1" name="Textplatzhalter 2">
            <a:extLst>
              <a:ext uri="{FF2B5EF4-FFF2-40B4-BE49-F238E27FC236}">
                <a16:creationId xmlns:a16="http://schemas.microsoft.com/office/drawing/2014/main" id="{8543B392-459B-A86A-C5B6-C9763A1DEB2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34072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F53BB81-EFD2-4AF9-999A-72C42ADBCFE4}" type="datetime'''''''''''''1''''''''''8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2" name="Textplatzhalter 2">
            <a:extLst>
              <a:ext uri="{FF2B5EF4-FFF2-40B4-BE49-F238E27FC236}">
                <a16:creationId xmlns:a16="http://schemas.microsoft.com/office/drawing/2014/main" id="{E7C8B0A2-085D-8947-0463-261EC6F1CA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528050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BAE4F1-E59A-4643-857C-6C2F40A0A52E}" type="datetime'''''1''''''''''9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3" name="Textplatzhalter 2">
            <a:extLst>
              <a:ext uri="{FF2B5EF4-FFF2-40B4-BE49-F238E27FC236}">
                <a16:creationId xmlns:a16="http://schemas.microsoft.com/office/drawing/2014/main" id="{5DCD0FD7-ED1C-26E6-D79F-A80798B1FBF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71378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318A89-FE37-4D45-A09D-6B060970ACB9}" type="datetime'''''''''''2''0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4" name="Textplatzhalter 2">
            <a:extLst>
              <a:ext uri="{FF2B5EF4-FFF2-40B4-BE49-F238E27FC236}">
                <a16:creationId xmlns:a16="http://schemas.microsoft.com/office/drawing/2014/main" id="{4C0105E3-E7CC-28F1-E716-0EB23D4BA3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90111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842B95-EDCC-4CC3-8858-B1C948A86335}" type="datetime'''''''''''''''''''''''''''''''''''''2''''''1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5" name="Textplatzhalter 2">
            <a:extLst>
              <a:ext uri="{FF2B5EF4-FFF2-40B4-BE49-F238E27FC236}">
                <a16:creationId xmlns:a16="http://schemas.microsoft.com/office/drawing/2014/main" id="{BC27D3F6-74C3-0D7A-02C6-9888E92968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0884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AE6658D-B53B-40A8-8CF5-F4AEC0ACD40D}" type="datetime'''''''''''''''''''''''''''''''2''2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6" name="Textplatzhalter 2">
            <a:extLst>
              <a:ext uri="{FF2B5EF4-FFF2-40B4-BE49-F238E27FC236}">
                <a16:creationId xmlns:a16="http://schemas.microsoft.com/office/drawing/2014/main" id="{7EDF2EFA-C760-C9D0-B6CB-7A5D1064C8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275763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B5279DC-4803-40BB-A46B-A5C570E187F8}" type="datetime'''''''2''''''''''''''''''''''''''''''''3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3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7" name="Textplatzhalter 2">
            <a:extLst>
              <a:ext uri="{FF2B5EF4-FFF2-40B4-BE49-F238E27FC236}">
                <a16:creationId xmlns:a16="http://schemas.microsoft.com/office/drawing/2014/main" id="{64420525-ED39-D923-22F0-E9D84AFB5F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46150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4D3A4B2-C9EF-4DC5-8396-CBB66B35ACE7}" type="datetime'''''''''''2''''''''''4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8" name="Textplatzhalter 2">
            <a:extLst>
              <a:ext uri="{FF2B5EF4-FFF2-40B4-BE49-F238E27FC236}">
                <a16:creationId xmlns:a16="http://schemas.microsoft.com/office/drawing/2014/main" id="{CA7E808F-56D8-7566-CA0C-CEC6584020A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64882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F58D30-7E67-4C7A-9CB3-D1FE1958398B}" type="datetime'2''''''''''''''''''''5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5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99" name="Textplatzhalter 2">
            <a:extLst>
              <a:ext uri="{FF2B5EF4-FFF2-40B4-BE49-F238E27FC236}">
                <a16:creationId xmlns:a16="http://schemas.microsoft.com/office/drawing/2014/main" id="{9A476626-D8E5-2BB8-9522-B3367109175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836150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F09B2E-0A6C-4ED0-8CD6-1B90F9A29027}" type="datetime'''''''''''''''''''''''''''''''''2''''''6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0" name="Textplatzhalter 2">
            <a:extLst>
              <a:ext uri="{FF2B5EF4-FFF2-40B4-BE49-F238E27FC236}">
                <a16:creationId xmlns:a16="http://schemas.microsoft.com/office/drawing/2014/main" id="{83CB4369-F414-5D6B-9B88-E71892BF08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023475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C398484-B240-4CAB-A062-C5B227DE080F}" type="datetime'''''27''''''''''''''''''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1" name="Textplatzhalter 2">
            <a:extLst>
              <a:ext uri="{FF2B5EF4-FFF2-40B4-BE49-F238E27FC236}">
                <a16:creationId xmlns:a16="http://schemas.microsoft.com/office/drawing/2014/main" id="{6A2F615B-0043-AED0-1DFF-81594C6380B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210800" y="1839913"/>
            <a:ext cx="185738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1657F5-DF26-4993-A742-7976CDB20F19}" type="datetime'''''''''''''''2''''''''8''''''''''''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2" name="Textplatzhalter 2">
            <a:extLst>
              <a:ext uri="{FF2B5EF4-FFF2-40B4-BE49-F238E27FC236}">
                <a16:creationId xmlns:a16="http://schemas.microsoft.com/office/drawing/2014/main" id="{890AC615-DE20-DAE3-21DE-026CF2CD7F6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396538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F259D02-8F8D-4476-A36F-640FA3495626}" type="datetime'''''''''''''''''''''''''''''''''''''''2''''''''''''''''9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03" name="Textplatzhalter 2">
            <a:extLst>
              <a:ext uri="{FF2B5EF4-FFF2-40B4-BE49-F238E27FC236}">
                <a16:creationId xmlns:a16="http://schemas.microsoft.com/office/drawing/2014/main" id="{AD464859-189D-6550-A167-CDEC2F721C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583863" y="1839913"/>
            <a:ext cx="187325" cy="1381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4288" rIns="0" bIns="14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230314-1E95-4A59-B48C-6CE55DDBDE47}" type="datetime'''''''''''''''''''''''3''''''0'''''''''">
              <a:rPr lang="en-US" altLang="en-US" sz="800" b="1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</a:t>
            </a:fld>
            <a:endParaRPr kumimoji="0" lang="en-US" sz="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cxnSp>
        <p:nvCxnSpPr>
          <p:cNvPr id="309" name="Straight Connector 308">
            <a:extLst>
              <a:ext uri="{FF2B5EF4-FFF2-40B4-BE49-F238E27FC236}">
                <a16:creationId xmlns:a16="http://schemas.microsoft.com/office/drawing/2014/main" id="{38CE8A48-D6D3-EF5E-6EC8-1E6DBE645FE4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831975" y="197802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2CE7F806-BDFD-D092-D254-D337E82F051A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9752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18C3F1A8-EFE4-63DA-0905-41DC869CCEE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10771188" y="197802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3DDE55-F499-0040-2F17-E155BA37B5F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57229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DB6793-3352-0E97-A680-873E100F7CFC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60960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54676475-600E-DB09-5131-49282E749E95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4600575" y="1978025"/>
            <a:ext cx="0" cy="3282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837FE79B-FAC6-7FC5-6564-F8EEEC5487C0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05838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3EB5906C-9DAF-098F-9C96-C0A91651CF40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03965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57E7B844-F3A8-BBF4-11EE-9C1A8D3B5864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2833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id="{0EEE8476-C4C0-4296-01AE-0367E0A7E5FE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102108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6B6EE7D-B872-7E33-A51C-4F10336FAECD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1002347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1" name="Straight Connector 400">
            <a:extLst>
              <a:ext uri="{FF2B5EF4-FFF2-40B4-BE49-F238E27FC236}">
                <a16:creationId xmlns:a16="http://schemas.microsoft.com/office/drawing/2014/main" id="{B969FEE7-65A7-038A-6756-C7A3367EC40F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98361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C98137BC-DE0B-6622-35A2-32CBAA4B0AA5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64706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8519BD10-5CFA-D175-7EC7-D62BEBD4CEC2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96488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6DA3E327-DF91-0578-3620-E076C1F758BB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94615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576A58DB-A5CD-A7BA-EC1B-6D42D5C249F2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2757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7198305B-F1A6-4A86-EA1F-F9EF27F85676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1501438" y="1978025"/>
            <a:ext cx="0" cy="3282950"/>
          </a:xfrm>
          <a:prstGeom prst="line">
            <a:avLst/>
          </a:prstGeom>
          <a:ln w="952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8" name="Straight Connector 397">
            <a:extLst>
              <a:ext uri="{FF2B5EF4-FFF2-40B4-BE49-F238E27FC236}">
                <a16:creationId xmlns:a16="http://schemas.microsoft.com/office/drawing/2014/main" id="{DD5A7D5F-8B52-57CA-BE35-A4535001006A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90884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7" name="Straight Connector 396">
            <a:extLst>
              <a:ext uri="{FF2B5EF4-FFF2-40B4-BE49-F238E27FC236}">
                <a16:creationId xmlns:a16="http://schemas.microsoft.com/office/drawing/2014/main" id="{413E4236-977D-2719-244A-DC26CEEDB2B9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89011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63603FD8-B2D6-C979-4455-858C52BD058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47879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6" name="Straight Connector 395">
            <a:extLst>
              <a:ext uri="{FF2B5EF4-FFF2-40B4-BE49-F238E27FC236}">
                <a16:creationId xmlns:a16="http://schemas.microsoft.com/office/drawing/2014/main" id="{E0306CD9-0383-A5BF-8E78-B60F864A679D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871378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996722B9-F00E-34E2-38D3-1908B0128B0B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85280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CB79640D-900E-8889-505C-3B612F5B5148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665797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CFE82EFB-EEAB-60FD-20BF-C3392DA1EAD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9102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15E5BA17-2E98-6F70-62BD-D789384D586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834072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00933C55-F612-1A27-D5CA-9B94964D3800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815340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A872193-8CEB-DD9D-E789-CD6F3283ABF9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7966075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DF9080C8-8959-9A28-C592-F8F4B8BC6265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7778750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463A3B84-94BE-01EA-B2D5-59BB5D7BBB77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75930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36A9B83-D693-8604-2C60-48F235567B4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1609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AB304814-5559-95D4-B24A-4F6D273FC7AB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740568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0CCA029-4045-DE24-3965-E35E558ADE5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55356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D2D82FD1-23B1-F6DF-DB0F-F99372E2C712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721836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53C2407-8619-74D0-240D-74C8A38E35F0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34828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F554A9C8-FC61-9303-5B30-A8F9705914F8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7031038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D4649822-2472-0113-0D93-28D716BBDAB2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6843713" y="1978025"/>
            <a:ext cx="0" cy="32829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61244DA-F935-0C6A-4B12-8E4E8D2A68D4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1831975" y="240506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9" name="Straight Connector 408">
            <a:extLst>
              <a:ext uri="{FF2B5EF4-FFF2-40B4-BE49-F238E27FC236}">
                <a16:creationId xmlns:a16="http://schemas.microsoft.com/office/drawing/2014/main" id="{0E7D6432-D3FE-460A-CDEF-946AC8C20A23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1831975" y="2986088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13D4AABF-3CEB-E422-AA03-07DD25852739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831975" y="3276600"/>
            <a:ext cx="9669463" cy="0"/>
          </a:xfrm>
          <a:prstGeom prst="line">
            <a:avLst/>
          </a:prstGeom>
          <a:ln w="3175" cap="sq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6" name="Straight Connector 555">
            <a:extLst>
              <a:ext uri="{FF2B5EF4-FFF2-40B4-BE49-F238E27FC236}">
                <a16:creationId xmlns:a16="http://schemas.microsoft.com/office/drawing/2014/main" id="{90FE5B3C-D059-69B5-B61D-3C00FB888375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1831975" y="3567113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1" name="Straight Connector 410">
            <a:extLst>
              <a:ext uri="{FF2B5EF4-FFF2-40B4-BE49-F238E27FC236}">
                <a16:creationId xmlns:a16="http://schemas.microsoft.com/office/drawing/2014/main" id="{0CDFC98A-9026-DDDF-32A2-E0E7CE2E8AB5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1831975" y="4730750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2D541FD-5053-7E0E-3B6D-BCF6545A7A29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1831975" y="3857625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225B23D-F995-CCA3-9BD2-49FBFF451782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1831975" y="2695575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6502677A-9A3E-2AE4-D370-27F36723EF13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1831975" y="4440238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66380C9-DC2C-3142-EFB0-F66440E12D5E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1831975" y="4148138"/>
            <a:ext cx="9669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2" name="Straight Connector 411">
            <a:extLst>
              <a:ext uri="{FF2B5EF4-FFF2-40B4-BE49-F238E27FC236}">
                <a16:creationId xmlns:a16="http://schemas.microsoft.com/office/drawing/2014/main" id="{A05F41B4-01C0-EC18-B50A-11F07EC1745C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1831975" y="526097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501A358-DB12-9C9A-C939-8F5B71EB6023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6203950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4FF20FF2-17C8-308F-4EB2-EB6EBD1669E5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7832725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01097B76-5E4D-4349-02B7-16EFB411B182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8661400" y="1978025"/>
            <a:ext cx="0" cy="3446463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B10A239B-9D69-E485-DE15-ECB093506448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5614988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5" name="Straight Connector 414">
            <a:extLst>
              <a:ext uri="{FF2B5EF4-FFF2-40B4-BE49-F238E27FC236}">
                <a16:creationId xmlns:a16="http://schemas.microsoft.com/office/drawing/2014/main" id="{D7B04B48-CB27-A07B-45C4-CBA0A8D9D802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5454650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C2D812EC-EB0D-522E-0CCB-B9304BDA2EEB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5241925" y="1978025"/>
            <a:ext cx="0" cy="34464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3644B862-CC76-AB3A-BBCD-A9C1E4B35038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1831975" y="1978025"/>
            <a:ext cx="9669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418">
            <a:extLst>
              <a:ext uri="{FF2B5EF4-FFF2-40B4-BE49-F238E27FC236}">
                <a16:creationId xmlns:a16="http://schemas.microsoft.com/office/drawing/2014/main" id="{83F2024F-1BE6-4831-6049-C7B39FD19FFB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7832725" y="2501900"/>
            <a:ext cx="13335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E9592BFE-DF01-DA73-EEFD-B9B15A9B590E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5935663" y="3663950"/>
            <a:ext cx="109537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3D293CCC-187D-3824-403F-105BEA31F7FA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7378700" y="4244975"/>
            <a:ext cx="454025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CF1CC5DD-48AE-038F-295D-0A2C9333AE52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5429250" y="3082925"/>
            <a:ext cx="5064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1C8974C-C3FD-960F-2207-ED8DFFF8C6F5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4921250" y="2792413"/>
            <a:ext cx="508000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42CA50EE-BD8C-2ACB-2553-6B1064D70796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5910263" y="3373438"/>
            <a:ext cx="12811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F72CA6C6-1AE5-3C2B-7247-D41D5C1BFFC4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187950" y="2501900"/>
            <a:ext cx="74771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2" name="Arrow: Right 838">
            <a:extLst>
              <a:ext uri="{FF2B5EF4-FFF2-40B4-BE49-F238E27FC236}">
                <a16:creationId xmlns:a16="http://schemas.microsoft.com/office/drawing/2014/main" id="{1ED4C330-5C31-26B2-09CD-747A00E43B2C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5187950" y="2035175"/>
            <a:ext cx="5684838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D92AB0B-C3D7-3967-AAF8-4294AF56C0FC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5935664" y="3954463"/>
            <a:ext cx="1122363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4" name="Rectangle 523">
            <a:extLst>
              <a:ext uri="{FF2B5EF4-FFF2-40B4-BE49-F238E27FC236}">
                <a16:creationId xmlns:a16="http://schemas.microsoft.com/office/drawing/2014/main" id="{7528FC44-77E7-7997-C396-3455EE6C4B93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8688387" y="4827588"/>
            <a:ext cx="1868488" cy="79375"/>
          </a:xfrm>
          <a:prstGeom prst="rect">
            <a:avLst/>
          </a:prstGeom>
          <a:solidFill>
            <a:srgbClr val="6F8DB9"/>
          </a:solidFill>
          <a:ln w="19050" cap="flat" cmpd="sng" algn="ctr">
            <a:noFill/>
            <a:prstDash val="dash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5" name="Arrow: Right 23">
            <a:extLst>
              <a:ext uri="{FF2B5EF4-FFF2-40B4-BE49-F238E27FC236}">
                <a16:creationId xmlns:a16="http://schemas.microsoft.com/office/drawing/2014/main" id="{D49F37C1-4625-1CEA-4816-9407E4150811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10556875" y="5026025"/>
            <a:ext cx="315913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D3442065-9A0F-DBCC-D4DA-383BEC6BCC3B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7031039" y="3673475"/>
            <a:ext cx="561975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6D11A8F-F2EC-B77B-14B5-359DC1D5A9D7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7191375" y="3382963"/>
            <a:ext cx="401638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AE154A93-F938-18FD-66F4-7FF0A4C34F3F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5935663" y="2511425"/>
            <a:ext cx="18970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51D09BD-03A9-C3D3-663C-18197B650A8E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7058024" y="3963988"/>
            <a:ext cx="534988" cy="603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6F8DB9"/>
            </a:solidFill>
            <a:prstDash val="dash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EEFECF60-58E3-234F-DF4E-5342E7778F2F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5749925" y="3673475"/>
            <a:ext cx="185738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0" name="Arrow: Right 899">
            <a:extLst>
              <a:ext uri="{FF2B5EF4-FFF2-40B4-BE49-F238E27FC236}">
                <a16:creationId xmlns:a16="http://schemas.microsoft.com/office/drawing/2014/main" id="{0FF90354-FF82-2FC0-DDCE-15B9DE2D06FE}"/>
              </a:ext>
            </a:extLst>
          </p:cNvPr>
          <p:cNvSpPr/>
          <p:nvPr>
            <p:custDataLst>
              <p:tags r:id="rId113"/>
            </p:custDataLst>
          </p:nvPr>
        </p:nvSpPr>
        <p:spPr bwMode="auto">
          <a:xfrm>
            <a:off x="8634413" y="4516438"/>
            <a:ext cx="2238375" cy="120650"/>
          </a:xfrm>
          <a:prstGeom prst="rightArrow">
            <a:avLst>
              <a:gd name="adj1" fmla="val 50000"/>
              <a:gd name="adj2" fmla="val 40660"/>
            </a:avLst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08DBBE-7C05-2B57-CBA2-4BFE9C038CCB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4814888" y="3092450"/>
            <a:ext cx="614363" cy="60325"/>
          </a:xfrm>
          <a:prstGeom prst="rect">
            <a:avLst/>
          </a:prstGeom>
          <a:noFill/>
          <a:ln w="19050" cap="flat" cmpd="sng" algn="ctr">
            <a:solidFill>
              <a:srgbClr val="6F8DB9"/>
            </a:soli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D271DDF-39A0-F493-65D1-922382B73805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7966075" y="4546600"/>
            <a:ext cx="668338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758AC1B-9C1F-623A-B182-80915D0FC37E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058025" y="4254500"/>
            <a:ext cx="320675" cy="60325"/>
          </a:xfrm>
          <a:prstGeom prst="rect">
            <a:avLst/>
          </a:prstGeom>
          <a:solidFill>
            <a:srgbClr val="6F8DB9"/>
          </a:solidFill>
          <a:ln w="19050" cap="flat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6" name="Isosceles Triangle 93">
            <a:extLst>
              <a:ext uri="{FF2B5EF4-FFF2-40B4-BE49-F238E27FC236}">
                <a16:creationId xmlns:a16="http://schemas.microsoft.com/office/drawing/2014/main" id="{2EF56029-1B0E-62AC-864B-DFD53A895D39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 rot="10800000">
            <a:off x="6430963" y="590708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5" name="Right Bracket 444">
            <a:extLst>
              <a:ext uri="{FF2B5EF4-FFF2-40B4-BE49-F238E27FC236}">
                <a16:creationId xmlns:a16="http://schemas.microsoft.com/office/drawing/2014/main" id="{4664928A-109B-9170-C0FC-F0D3CF6AF420}"/>
              </a:ext>
            </a:extLst>
          </p:cNvPr>
          <p:cNvSpPr/>
          <p:nvPr>
            <p:custDataLst>
              <p:tags r:id="rId118"/>
            </p:custDataLst>
          </p:nvPr>
        </p:nvSpPr>
        <p:spPr bwMode="auto">
          <a:xfrm rot="5400000">
            <a:off x="6483350" y="4557713"/>
            <a:ext cx="107950" cy="2590800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7" name="Isosceles Triangle 903">
            <a:extLst>
              <a:ext uri="{FF2B5EF4-FFF2-40B4-BE49-F238E27FC236}">
                <a16:creationId xmlns:a16="http://schemas.microsoft.com/office/drawing/2014/main" id="{E8DA7977-EDE6-1C72-0ABF-165312C66D59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610600" y="537368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8" name="Isosceles Triangle 511">
            <a:extLst>
              <a:ext uri="{FF2B5EF4-FFF2-40B4-BE49-F238E27FC236}">
                <a16:creationId xmlns:a16="http://schemas.microsoft.com/office/drawing/2014/main" id="{1AE282C3-A76C-D05D-3073-D5AFAEB6C897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7781925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riangle 13">
            <a:extLst>
              <a:ext uri="{FF2B5EF4-FFF2-40B4-BE49-F238E27FC236}">
                <a16:creationId xmlns:a16="http://schemas.microsoft.com/office/drawing/2014/main" id="{B73CB9A3-9D1E-636B-0E93-597ADD504EAF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6153150" y="5373688"/>
            <a:ext cx="101600" cy="1016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9" name="Isosceles Triangle 96">
            <a:extLst>
              <a:ext uri="{FF2B5EF4-FFF2-40B4-BE49-F238E27FC236}">
                <a16:creationId xmlns:a16="http://schemas.microsoft.com/office/drawing/2014/main" id="{248160F8-DD6E-B8DC-5DEE-86A30D9A670E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5564188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0" name="Isosceles Triangle 94">
            <a:extLst>
              <a:ext uri="{FF2B5EF4-FFF2-40B4-BE49-F238E27FC236}">
                <a16:creationId xmlns:a16="http://schemas.microsoft.com/office/drawing/2014/main" id="{5B4762F8-F595-4774-E661-D1B84153CA83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5403850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1" name="Isosceles Triangle 24">
            <a:extLst>
              <a:ext uri="{FF2B5EF4-FFF2-40B4-BE49-F238E27FC236}">
                <a16:creationId xmlns:a16="http://schemas.microsoft.com/office/drawing/2014/main" id="{16884984-5DE7-9E97-F5CA-5AA7EB00872C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5191125" y="5373688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4" name="Diamond 453">
            <a:extLst>
              <a:ext uri="{FF2B5EF4-FFF2-40B4-BE49-F238E27FC236}">
                <a16:creationId xmlns:a16="http://schemas.microsoft.com/office/drawing/2014/main" id="{87A5A5D6-835D-44B9-8A70-C7B1576312E6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7781925" y="423386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0" name="Diamond 459">
            <a:extLst>
              <a:ext uri="{FF2B5EF4-FFF2-40B4-BE49-F238E27FC236}">
                <a16:creationId xmlns:a16="http://schemas.microsoft.com/office/drawing/2014/main" id="{E5315D9C-39F9-A3AB-C9FC-3606BA1413DC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8610600" y="452596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8" name="Diamond 457">
            <a:extLst>
              <a:ext uri="{FF2B5EF4-FFF2-40B4-BE49-F238E27FC236}">
                <a16:creationId xmlns:a16="http://schemas.microsoft.com/office/drawing/2014/main" id="{4202CB86-4478-88B3-D4E1-BBB78E7D795B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5884863" y="307181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Diamond 21">
            <a:extLst>
              <a:ext uri="{FF2B5EF4-FFF2-40B4-BE49-F238E27FC236}">
                <a16:creationId xmlns:a16="http://schemas.microsoft.com/office/drawing/2014/main" id="{7B4672DC-AC3E-8DA2-6ED4-DF0E671F2EF6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7915275" y="4525963"/>
            <a:ext cx="101600" cy="101600"/>
          </a:xfrm>
          <a:prstGeom prst="diamond">
            <a:avLst/>
          </a:prstGeom>
          <a:solidFill>
            <a:srgbClr val="C30C3E"/>
          </a:solidFill>
          <a:ln w="9525" cmpd="sng">
            <a:solidFill>
              <a:srgbClr val="C30C3E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2" name="Diamond 461">
            <a:extLst>
              <a:ext uri="{FF2B5EF4-FFF2-40B4-BE49-F238E27FC236}">
                <a16:creationId xmlns:a16="http://schemas.microsoft.com/office/drawing/2014/main" id="{A569EB0F-5C04-B3AB-CF1E-9004C3AE4F9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4764088" y="206375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9" name="Diamond 458">
            <a:extLst>
              <a:ext uri="{FF2B5EF4-FFF2-40B4-BE49-F238E27FC236}">
                <a16:creationId xmlns:a16="http://schemas.microsoft.com/office/drawing/2014/main" id="{77EB5B8B-9DE7-98C9-C0F4-652653AB5851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7327900" y="4233863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1" name="Diamond 460">
            <a:extLst>
              <a:ext uri="{FF2B5EF4-FFF2-40B4-BE49-F238E27FC236}">
                <a16:creationId xmlns:a16="http://schemas.microsoft.com/office/drawing/2014/main" id="{4DC02E83-FDF7-2BBB-E6BB-2AB5EF0BCEF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378450" y="2781300"/>
            <a:ext cx="101600" cy="1016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FB2D5-F160-54A1-AC94-A7F076D7C4D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gray">
          <a:xfrm flipV="1">
            <a:off x="4899024" y="5497513"/>
            <a:ext cx="3429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0238A64-8B1C-3007-4482-A2F5ED2284C3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 flipH="1" flipV="1">
            <a:off x="6203950" y="5497513"/>
            <a:ext cx="3175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154B86-B51C-EAA6-D760-E71D4F6A1F61}"/>
              </a:ext>
            </a:extLst>
          </p:cNvPr>
          <p:cNvCxnSpPr>
            <a:cxnSpLocks/>
          </p:cNvCxnSpPr>
          <p:nvPr>
            <p:custDataLst>
              <p:tags r:id="rId134"/>
            </p:custDataLst>
          </p:nvPr>
        </p:nvCxnSpPr>
        <p:spPr bwMode="gray">
          <a:xfrm flipV="1">
            <a:off x="5445126" y="5497513"/>
            <a:ext cx="9525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40C55E0-8831-10EF-4A4A-DF7F0CB3D4BE}"/>
              </a:ext>
            </a:extLst>
          </p:cNvPr>
          <p:cNvCxnSpPr>
            <a:cxnSpLocks/>
          </p:cNvCxnSpPr>
          <p:nvPr>
            <p:custDataLst>
              <p:tags r:id="rId135"/>
            </p:custDataLst>
          </p:nvPr>
        </p:nvCxnSpPr>
        <p:spPr bwMode="gray">
          <a:xfrm flipH="1" flipV="1">
            <a:off x="5614988" y="5497513"/>
            <a:ext cx="34290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259910FA-8AC6-A450-D1A6-6FFA10275D57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10914063" y="184150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Responsibl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E7454253-3291-1376-9472-A3A62D5E96A7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0914063" y="3644900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HY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0" name="Textplatzhalter 2">
            <a:extLst>
              <a:ext uri="{FF2B5EF4-FFF2-40B4-BE49-F238E27FC236}">
                <a16:creationId xmlns:a16="http://schemas.microsoft.com/office/drawing/2014/main" id="{85909323-21D7-6D8D-D83A-656015678920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873250" y="3644900"/>
            <a:ext cx="2536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Application Implement. (Studio Configuration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D871DBE1-68A9-8CE9-DDBA-41504C530638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10914063" y="3354388"/>
            <a:ext cx="1571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Lato" panose="020F0502020204030203" pitchFamily="34" charset="0"/>
              </a:rPr>
              <a:t>HY</a:t>
            </a:r>
            <a:endParaRPr kumimoji="0" lang="en-US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1" name="Textplatzhalter 2">
            <a:extLst>
              <a:ext uri="{FF2B5EF4-FFF2-40B4-BE49-F238E27FC236}">
                <a16:creationId xmlns:a16="http://schemas.microsoft.com/office/drawing/2014/main" id="{0C90AA6D-1C40-E357-6B30-72D256FB361F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1873250" y="3354388"/>
            <a:ext cx="1912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ML Model Training &amp; </a:t>
            </a:r>
            <a:r>
              <a:rPr lang="en-US" altLang="en-US" sz="10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O</a:t>
            </a:r>
            <a:r>
              <a:rPr kumimoji="0" lang="en-US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ptimization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543B5A93-8CA0-14F8-0729-DF243315B870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10914063" y="3063875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C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 &amp; HY</a:t>
            </a:r>
          </a:p>
        </p:txBody>
      </p:sp>
      <p:sp>
        <p:nvSpPr>
          <p:cNvPr id="477" name="Textplatzhalter 2">
            <a:extLst>
              <a:ext uri="{FF2B5EF4-FFF2-40B4-BE49-F238E27FC236}">
                <a16:creationId xmlns:a16="http://schemas.microsoft.com/office/drawing/2014/main" id="{3A3D5CA6-B092-0F71-FE3B-5E136677DD2E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873250" y="3063875"/>
            <a:ext cx="14493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Lato" panose="020F0502020204030203" pitchFamily="34" charset="0"/>
              </a:rPr>
              <a:t>Design of New AP Process</a:t>
            </a:r>
            <a:endParaRPr lang="en-US" sz="1000" dirty="0">
              <a:solidFill>
                <a:srgbClr val="000000"/>
              </a:solidFill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69EBDE4-C693-3CB0-A551-1638B6A890ED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10914063" y="4225925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dirty="0">
                <a:solidFill>
                  <a:srgbClr val="000000"/>
                </a:solidFill>
                <a:latin typeface="Lato" panose="020F0502020204030203" pitchFamily="34" charset="0"/>
              </a:rPr>
              <a:t>CUS &amp; HY</a:t>
            </a: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89" name="Textplatzhalter 2">
            <a:extLst>
              <a:ext uri="{FF2B5EF4-FFF2-40B4-BE49-F238E27FC236}">
                <a16:creationId xmlns:a16="http://schemas.microsoft.com/office/drawing/2014/main" id="{67F1DD5C-6267-BBEA-C64B-387D2E126FD5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6027738" y="3068638"/>
            <a:ext cx="16414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SoW &amp; Solution Design Confirmation</a:t>
            </a:r>
            <a:endParaRPr lang="en-GB" sz="800" dirty="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06766BA-B9E1-F28C-1E77-2C9351DBCAA1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914063" y="2773363"/>
            <a:ext cx="2698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fld id="{4CD1CFC4-5943-4BCD-9568-A0224E94A1F1}" type="datetime'Label'">
              <a:rPr lang="en-US" altLang="en-US" sz="900" smtClean="0">
                <a:solidFill>
                  <a:srgbClr val="000000"/>
                </a:solidFill>
                <a:latin typeface="Lato" panose="020F0502020204030203" pitchFamily="34" charset="77"/>
              </a:rPr>
              <a:pPr lvl="1">
                <a:spcBef>
                  <a:spcPct val="0"/>
                </a:spcBef>
                <a:spcAft>
                  <a:spcPct val="0"/>
                </a:spcAft>
                <a:defRPr/>
              </a:pPr>
              <a:t>Label</a:t>
            </a:fld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77"/>
              <a:sym typeface="Lato" panose="020F0502020204030203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C13D341D-463E-1279-AEF0-16F5A726A837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1873250" y="2773363"/>
            <a:ext cx="2270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ata Acquisition &amp; Requirement Analysis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7" name="Textplatzhalter 2">
            <a:extLst>
              <a:ext uri="{FF2B5EF4-FFF2-40B4-BE49-F238E27FC236}">
                <a16:creationId xmlns:a16="http://schemas.microsoft.com/office/drawing/2014/main" id="{4408BC30-F5BB-2D69-42EF-80994E4A238F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1873250" y="1854200"/>
            <a:ext cx="4333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Activ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95" name="Textplatzhalter 2">
            <a:extLst>
              <a:ext uri="{FF2B5EF4-FFF2-40B4-BE49-F238E27FC236}">
                <a16:creationId xmlns:a16="http://schemas.microsoft.com/office/drawing/2014/main" id="{C29A45F3-2DBF-F070-50B8-9027262B6165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1873250" y="4225925"/>
            <a:ext cx="13636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Testing (FT &amp; SIT &amp; UAT)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4C01F3D5-2871-F0F4-D38A-D2ED2791E016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914063" y="2482850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US &amp; HY</a:t>
            </a:r>
          </a:p>
        </p:txBody>
      </p:sp>
      <p:sp>
        <p:nvSpPr>
          <p:cNvPr id="510" name="Textplatzhalter 2">
            <a:extLst>
              <a:ext uri="{FF2B5EF4-FFF2-40B4-BE49-F238E27FC236}">
                <a16:creationId xmlns:a16="http://schemas.microsoft.com/office/drawing/2014/main" id="{ECAF6BDD-443F-57E0-E02E-9D8842782139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1873250" y="2482850"/>
            <a:ext cx="9556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  <a:sym typeface="Lato" panose="020F0502020204030203" pitchFamily="34" charset="0"/>
              </a:rPr>
              <a:t>User Onboarding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69" name="Textplatzhalter 2">
            <a:extLst>
              <a:ext uri="{FF2B5EF4-FFF2-40B4-BE49-F238E27FC236}">
                <a16:creationId xmlns:a16="http://schemas.microsoft.com/office/drawing/2014/main" id="{9702759F-0D99-8C77-ABCD-98C5702A0E63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7616825" y="2598738"/>
            <a:ext cx="56515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Go-live Q&amp;A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8" name="Textplatzhalter 2">
            <a:extLst>
              <a:ext uri="{FF2B5EF4-FFF2-40B4-BE49-F238E27FC236}">
                <a16:creationId xmlns:a16="http://schemas.microsoft.com/office/drawing/2014/main" id="{823CED62-4AE7-25DC-FD40-6E15F835E8E9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6292850" y="2598738"/>
            <a:ext cx="1181100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Leverage User Experience 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466" name="Textplatzhalter 2">
            <a:extLst>
              <a:ext uri="{FF2B5EF4-FFF2-40B4-BE49-F238E27FC236}">
                <a16:creationId xmlns:a16="http://schemas.microsoft.com/office/drawing/2014/main" id="{AFBAC359-7592-FCDE-EE69-4E89E25ECB8F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5176838" y="2598738"/>
            <a:ext cx="769938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User Onboarding</a:t>
            </a: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B79B7725-B581-AA52-5B64-AA4097A6200E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10914063" y="2055813"/>
            <a:ext cx="50482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dirty="0">
                <a:solidFill>
                  <a:srgbClr val="000000"/>
                </a:solidFill>
                <a:latin typeface="Lato" panose="020F0502020204030203" pitchFamily="34" charset="0"/>
              </a:rPr>
              <a:t>CUS &amp; HY</a:t>
            </a: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3" name="Textplatzhalter 2">
            <a:extLst>
              <a:ext uri="{FF2B5EF4-FFF2-40B4-BE49-F238E27FC236}">
                <a16:creationId xmlns:a16="http://schemas.microsoft.com/office/drawing/2014/main" id="{59EE61A5-4C63-AB00-4F40-C6E117E5A55D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auto">
          <a:xfrm>
            <a:off x="1873250" y="2055813"/>
            <a:ext cx="1219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sz="10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Project Setup &amp; </a:t>
            </a:r>
            <a:r>
              <a:rPr kumimoji="0" lang="en-US" sz="1000" b="0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Mgmt</a:t>
            </a:r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15" name="Text Placeholder 2">
            <a:extLst>
              <a:ext uri="{FF2B5EF4-FFF2-40B4-BE49-F238E27FC236}">
                <a16:creationId xmlns:a16="http://schemas.microsoft.com/office/drawing/2014/main" id="{6D358D2B-3191-052D-C784-86F386F032B8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0914063" y="5046663"/>
            <a:ext cx="2698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fld id="{9F7C66F9-1A7F-4A24-A298-E423618703CB}" type="datetime'Label'">
              <a:rPr lang="en-US" altLang="en-US" sz="900" smtClean="0">
                <a:solidFill>
                  <a:srgbClr val="000000"/>
                </a:solidFill>
                <a:latin typeface="Lato" panose="020F0502020204030203" pitchFamily="34" charset="77"/>
              </a:rPr>
              <a:pPr/>
              <a:t>Label</a:t>
            </a:fld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77"/>
              <a:sym typeface="Lato" panose="020F0502020204030203" pitchFamily="34" charset="0"/>
            </a:endParaRPr>
          </a:p>
        </p:txBody>
      </p:sp>
      <p:sp useBgFill="1">
        <p:nvSpPr>
          <p:cNvPr id="470" name="Textplatzhalter 2">
            <a:extLst>
              <a:ext uri="{FF2B5EF4-FFF2-40B4-BE49-F238E27FC236}">
                <a16:creationId xmlns:a16="http://schemas.microsoft.com/office/drawing/2014/main" id="{A55D6A27-4AA9-FCD6-48AF-AE5B077CBC5C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4398963" y="2005013"/>
            <a:ext cx="323850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err="1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Kickoff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20</a:t>
            </a: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.12.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5" name="Textplatzhalter 2">
            <a:extLst>
              <a:ext uri="{FF2B5EF4-FFF2-40B4-BE49-F238E27FC236}">
                <a16:creationId xmlns:a16="http://schemas.microsoft.com/office/drawing/2014/main" id="{39FAF301-42B9-65C9-DDD0-9D6FD9DF2B21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1873250" y="5046664"/>
            <a:ext cx="1546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2 (</a:t>
            </a:r>
            <a:r>
              <a:rPr lang="en-US" altLang="en-US" sz="1000" dirty="0" err="1">
                <a:solidFill>
                  <a:srgbClr val="000000"/>
                </a:solidFill>
              </a:rPr>
              <a:t>CompCode</a:t>
            </a:r>
            <a:r>
              <a:rPr lang="en-US" altLang="en-US" sz="1000" dirty="0">
                <a:solidFill>
                  <a:srgbClr val="000000"/>
                </a:solidFill>
              </a:rPr>
              <a:t> xx – xx)</a:t>
            </a:r>
            <a:endParaRPr kumimoji="0" lang="en-US" alt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2" name="Textplatzhalter 2">
            <a:extLst>
              <a:ext uri="{FF2B5EF4-FFF2-40B4-BE49-F238E27FC236}">
                <a16:creationId xmlns:a16="http://schemas.microsoft.com/office/drawing/2014/main" id="{41BEB9AA-4454-2A90-914C-89A25675F331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8366125" y="5534025"/>
            <a:ext cx="590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Continuation</a:t>
            </a:r>
            <a:b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rgbClr val="0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decision</a:t>
            </a:r>
            <a:endParaRPr lang="en-GB" sz="80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4" name="Textplatzhalter 2">
            <a:extLst>
              <a:ext uri="{FF2B5EF4-FFF2-40B4-BE49-F238E27FC236}">
                <a16:creationId xmlns:a16="http://schemas.microsoft.com/office/drawing/2014/main" id="{E27A3A6D-6D1E-901C-BC2B-D0B4EA700BA6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1873250" y="3935413"/>
            <a:ext cx="1963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ystem Integration Implementation</a:t>
            </a:r>
          </a:p>
        </p:txBody>
      </p:sp>
      <p:sp>
        <p:nvSpPr>
          <p:cNvPr id="505" name="Textplatzhalter 2">
            <a:extLst>
              <a:ext uri="{FF2B5EF4-FFF2-40B4-BE49-F238E27FC236}">
                <a16:creationId xmlns:a16="http://schemas.microsoft.com/office/drawing/2014/main" id="{A8B7CD04-8C05-529B-EF3E-7C9DB7CAAB7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7531100" y="5534025"/>
            <a:ext cx="6032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-live</a:t>
            </a:r>
            <a:br>
              <a:rPr lang="en-GB" sz="8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sz="800" dirty="0">
                <a:solidFill>
                  <a:srgbClr val="0000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Data decision</a:t>
            </a: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520AE8F0-287C-F6E4-82A0-12C86ADDA45C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10914063" y="3935413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C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 &amp; HY</a:t>
            </a: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80723864-12A8-DC86-7769-932819176F65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10914063" y="4808538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US &amp; HY</a:t>
            </a:r>
            <a:endParaRPr kumimoji="0" lang="en-US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F17D2B-2246-6EDD-07F4-36FEF60EA253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6234113" y="5534025"/>
            <a:ext cx="5762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>
                <a:solidFill>
                  <a:schemeClr val="hlink"/>
                </a:solidFill>
              </a:rPr>
              <a:t>Today </a:t>
            </a:r>
            <a:fld id="{AE0BBED6-2237-44CE-B5B7-CF08620E9268}" type="datetime'''''''''''09''''''.''''''''''0''''''''''2''''''''.'''''">
              <a:rPr lang="en-US" altLang="en-US" sz="800" smtClean="0">
                <a:solidFill>
                  <a:schemeClr val="hlink"/>
                </a:solidFill>
              </a:rPr>
              <a:pPr/>
              <a:t>09.02.</a:t>
            </a:fld>
            <a:endParaRPr lang="en-GB" sz="800" dirty="0">
              <a:solidFill>
                <a:schemeClr val="hlin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72" name="Textplatzhalter 2">
            <a:extLst>
              <a:ext uri="{FF2B5EF4-FFF2-40B4-BE49-F238E27FC236}">
                <a16:creationId xmlns:a16="http://schemas.microsoft.com/office/drawing/2014/main" id="{7BE36DF2-08A3-947A-B935-5FE4A7198E38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auto">
          <a:xfrm>
            <a:off x="1873250" y="4808538"/>
            <a:ext cx="15462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Wave 1 (</a:t>
            </a:r>
            <a:r>
              <a:rPr lang="en-US" altLang="en-US" sz="1000" dirty="0" err="1">
                <a:solidFill>
                  <a:srgbClr val="000000"/>
                </a:solidFill>
              </a:rPr>
              <a:t>CompCode</a:t>
            </a:r>
            <a:r>
              <a:rPr lang="en-US" altLang="en-US" sz="1000" dirty="0">
                <a:solidFill>
                  <a:srgbClr val="000000"/>
                </a:solidFill>
              </a:rPr>
              <a:t> xx – xx)</a:t>
            </a:r>
            <a:endParaRPr kumimoji="0" lang="en-US" alt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 useBgFill="1">
        <p:nvSpPr>
          <p:cNvPr id="488" name="Textplatzhalter 2">
            <a:extLst>
              <a:ext uri="{FF2B5EF4-FFF2-40B4-BE49-F238E27FC236}">
                <a16:creationId xmlns:a16="http://schemas.microsoft.com/office/drawing/2014/main" id="{BBDFAB72-B9C6-5C06-F544-77F4183A3565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7869238" y="4175125"/>
            <a:ext cx="7651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UAT approved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 Live Decision</a:t>
            </a:r>
          </a:p>
        </p:txBody>
      </p:sp>
      <p:sp>
        <p:nvSpPr>
          <p:cNvPr id="499" name="Textplatzhalter 2">
            <a:extLst>
              <a:ext uri="{FF2B5EF4-FFF2-40B4-BE49-F238E27FC236}">
                <a16:creationId xmlns:a16="http://schemas.microsoft.com/office/drawing/2014/main" id="{8819826E-C0AC-30CE-950F-CED7BFB7AE50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5722938" y="5534025"/>
            <a:ext cx="4699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Technic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 useBgFill="1">
        <p:nvSpPr>
          <p:cNvPr id="516" name="Textplatzhalter 2">
            <a:extLst>
              <a:ext uri="{FF2B5EF4-FFF2-40B4-BE49-F238E27FC236}">
                <a16:creationId xmlns:a16="http://schemas.microsoft.com/office/drawing/2014/main" id="{6F9F8611-C54A-F4EB-1789-B957E1F3AC65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7158038" y="4357688"/>
            <a:ext cx="442913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SIT</a:t>
            </a:r>
            <a:b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Approved</a:t>
            </a:r>
            <a:endParaRPr lang="en-GB" sz="800" dirty="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8" name="Text Placeholder 2">
            <a:extLst>
              <a:ext uri="{FF2B5EF4-FFF2-40B4-BE49-F238E27FC236}">
                <a16:creationId xmlns:a16="http://schemas.microsoft.com/office/drawing/2014/main" id="{81CFA5EC-A76B-76CE-8DBD-70336D4AD43D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10914063" y="4518025"/>
            <a:ext cx="504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Lato" panose="020F0502020204030203" pitchFamily="34" charset="0"/>
                <a:sym typeface="Lato" panose="020F0502020204030203" pitchFamily="34" charset="0"/>
              </a:rPr>
              <a:t>C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 &amp; HY</a:t>
            </a:r>
          </a:p>
        </p:txBody>
      </p:sp>
      <p:sp>
        <p:nvSpPr>
          <p:cNvPr id="494" name="Textplatzhalter 2">
            <a:extLst>
              <a:ext uri="{FF2B5EF4-FFF2-40B4-BE49-F238E27FC236}">
                <a16:creationId xmlns:a16="http://schemas.microsoft.com/office/drawing/2014/main" id="{1BEDF621-5B8C-825F-FA34-691B60B3F8F4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5208588" y="5534025"/>
            <a:ext cx="473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Functional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506" name="Textplatzhalter 2">
            <a:extLst>
              <a:ext uri="{FF2B5EF4-FFF2-40B4-BE49-F238E27FC236}">
                <a16:creationId xmlns:a16="http://schemas.microsoft.com/office/drawing/2014/main" id="{4B1B0258-8C3B-8430-5C31-EBDC4657303A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1873250" y="4518025"/>
            <a:ext cx="2686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Go-live &amp; Hypercare &amp; Continuous Improve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498" name="Textplatzhalter 2">
            <a:extLst>
              <a:ext uri="{FF2B5EF4-FFF2-40B4-BE49-F238E27FC236}">
                <a16:creationId xmlns:a16="http://schemas.microsoft.com/office/drawing/2014/main" id="{F4EF5264-EA4D-D5AB-D2F3-0DED00BBA0C3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753475" y="4467225"/>
            <a:ext cx="1146175" cy="21907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Hypercare Closing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tx2"/>
                </a:solidFill>
                <a:effectLst/>
                <a:ea typeface="Lato" panose="020F0502020204030203" pitchFamily="34" charset="0"/>
                <a:cs typeface="Lato" panose="020F0502020204030203" pitchFamily="34" charset="0"/>
              </a:rPr>
              <a:t>Handover Customer </a:t>
            </a:r>
            <a:r>
              <a:rPr lang="en-GB" altLang="en-US" sz="800" dirty="0">
                <a:solidFill>
                  <a:schemeClr val="tx2"/>
                </a:solidFill>
                <a:ea typeface="Lato" panose="020F0502020204030203" pitchFamily="34" charset="0"/>
                <a:cs typeface="Lato" panose="020F0502020204030203" pitchFamily="34" charset="0"/>
              </a:rPr>
              <a:t>Care</a:t>
            </a:r>
            <a:endParaRPr lang="en-GB" sz="800" dirty="0">
              <a:solidFill>
                <a:schemeClr val="tx2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5C4CC1AD-2E58-F4C9-556A-D62A7EE76FC5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4632325" y="5534025"/>
            <a:ext cx="534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Assessment</a:t>
            </a:r>
            <a:b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</a:br>
            <a:r>
              <a:rPr lang="en-GB" altLang="en-US" sz="80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Workshop</a:t>
            </a:r>
            <a:endParaRPr lang="en-GB" sz="80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83" name="Textplatzhalter 2">
            <a:extLst>
              <a:ext uri="{FF2B5EF4-FFF2-40B4-BE49-F238E27FC236}">
                <a16:creationId xmlns:a16="http://schemas.microsoft.com/office/drawing/2014/main" id="{2BDD5438-AA98-CB1D-3FFC-56B2F8FD39F5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5743575" y="6032500"/>
            <a:ext cx="15890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chemeClr val="bg1">
                    <a:lumMod val="50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Implementation Phase (2-3 months)</a:t>
            </a:r>
            <a:endParaRPr lang="en-GB" sz="800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467" name="Textplatzhalter 2">
            <a:extLst>
              <a:ext uri="{FF2B5EF4-FFF2-40B4-BE49-F238E27FC236}">
                <a16:creationId xmlns:a16="http://schemas.microsoft.com/office/drawing/2014/main" id="{F9DFD3B3-953C-7241-D40E-2AA3D8CC4B74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auto">
          <a:xfrm>
            <a:off x="4384675" y="185420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sym typeface="Lato" panose="020F0502020204030203" pitchFamily="34" charset="0"/>
              </a:rPr>
              <a:t>CW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 useBgFill="1">
        <p:nvSpPr>
          <p:cNvPr id="502" name="Textplatzhalter 2">
            <a:extLst>
              <a:ext uri="{FF2B5EF4-FFF2-40B4-BE49-F238E27FC236}">
                <a16:creationId xmlns:a16="http://schemas.microsoft.com/office/drawing/2014/main" id="{1DA1B9F0-41C8-3D27-73B6-D8E8AD74988E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8132763" y="4633913"/>
            <a:ext cx="334963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Go Live</a:t>
            </a:r>
          </a:p>
        </p:txBody>
      </p:sp>
      <p:sp useBgFill="1">
        <p:nvSpPr>
          <p:cNvPr id="507" name="Textplatzhalter 2">
            <a:extLst>
              <a:ext uri="{FF2B5EF4-FFF2-40B4-BE49-F238E27FC236}">
                <a16:creationId xmlns:a16="http://schemas.microsoft.com/office/drawing/2014/main" id="{345C69E9-0A8F-2969-0C24-BBCDA753E9FB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5521325" y="2778125"/>
            <a:ext cx="1222375" cy="1095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800" dirty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Training Data Confirmation</a:t>
            </a: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A586EF6-0E25-FB29-8C71-0EA45AFAB0D3}"/>
              </a:ext>
            </a:extLst>
          </p:cNvPr>
          <p:cNvSpPr/>
          <p:nvPr/>
        </p:nvSpPr>
        <p:spPr>
          <a:xfrm rot="2746554">
            <a:off x="1443356" y="5570761"/>
            <a:ext cx="82778" cy="82778"/>
          </a:xfrm>
          <a:prstGeom prst="rect">
            <a:avLst/>
          </a:prstGeom>
          <a:solidFill>
            <a:srgbClr val="C30B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170621E2-5D20-AE19-C329-4BA0E6271A5F}"/>
              </a:ext>
            </a:extLst>
          </p:cNvPr>
          <p:cNvSpPr txBox="1"/>
          <p:nvPr/>
        </p:nvSpPr>
        <p:spPr>
          <a:xfrm>
            <a:off x="1499247" y="549172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ilestone</a:t>
            </a:r>
          </a:p>
        </p:txBody>
      </p:sp>
      <p:sp>
        <p:nvSpPr>
          <p:cNvPr id="521" name="Isosceles Triangle 220">
            <a:extLst>
              <a:ext uri="{FF2B5EF4-FFF2-40B4-BE49-F238E27FC236}">
                <a16:creationId xmlns:a16="http://schemas.microsoft.com/office/drawing/2014/main" id="{187C276B-712C-26C4-B7B8-02E1CDDA6B06}"/>
              </a:ext>
            </a:extLst>
          </p:cNvPr>
          <p:cNvSpPr/>
          <p:nvPr/>
        </p:nvSpPr>
        <p:spPr>
          <a:xfrm>
            <a:off x="1435822" y="5394843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C5FC005D-CE0E-3877-958E-B11A0B5E8B43}"/>
              </a:ext>
            </a:extLst>
          </p:cNvPr>
          <p:cNvSpPr txBox="1"/>
          <p:nvPr/>
        </p:nvSpPr>
        <p:spPr>
          <a:xfrm>
            <a:off x="1499247" y="5336044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eeting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39C34A42-170F-7ADE-A1BE-C04BE95EF2F7}"/>
              </a:ext>
            </a:extLst>
          </p:cNvPr>
          <p:cNvSpPr txBox="1"/>
          <p:nvPr/>
        </p:nvSpPr>
        <p:spPr>
          <a:xfrm>
            <a:off x="9721850" y="6141259"/>
            <a:ext cx="200559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OW = Statement of Work</a:t>
            </a:r>
            <a:b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</a:b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FT= Functional Testing</a:t>
            </a:r>
          </a:p>
          <a:p>
            <a:pPr>
              <a:defRPr/>
            </a:pP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SIT= System Integration Testing</a:t>
            </a:r>
          </a:p>
          <a:p>
            <a:pPr>
              <a:defRPr/>
            </a:pPr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UAT= User Acceptance Testing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1ADDE8F9-AACC-7986-F124-A57F2B0AB690}"/>
              </a:ext>
            </a:extLst>
          </p:cNvPr>
          <p:cNvSpPr txBox="1"/>
          <p:nvPr/>
        </p:nvSpPr>
        <p:spPr>
          <a:xfrm>
            <a:off x="1832431" y="6344869"/>
            <a:ext cx="5589132" cy="2151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GB" sz="800">
                <a:solidFill>
                  <a:schemeClr val="bg1">
                    <a:lumMod val="50000"/>
                  </a:schemeClr>
                </a:solidFill>
                <a:latin typeface="Lato"/>
                <a:ea typeface="Lato"/>
                <a:cs typeface="Lato"/>
              </a:rPr>
              <a:t>Timeline subject to change – pending on Assessment, Functional &amp; Technical Workshops outcomes</a:t>
            </a:r>
          </a:p>
        </p:txBody>
      </p:sp>
      <p:sp>
        <p:nvSpPr>
          <p:cNvPr id="550" name="TextBox 48">
            <a:extLst>
              <a:ext uri="{FF2B5EF4-FFF2-40B4-BE49-F238E27FC236}">
                <a16:creationId xmlns:a16="http://schemas.microsoft.com/office/drawing/2014/main" id="{86BAE56F-145E-363A-09A6-8CA92F9C836D}"/>
              </a:ext>
            </a:extLst>
          </p:cNvPr>
          <p:cNvSpPr txBox="1"/>
          <p:nvPr/>
        </p:nvSpPr>
        <p:spPr>
          <a:xfrm>
            <a:off x="407591" y="4447808"/>
            <a:ext cx="1400573" cy="81316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ment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1" name="TextBox 48">
            <a:extLst>
              <a:ext uri="{FF2B5EF4-FFF2-40B4-BE49-F238E27FC236}">
                <a16:creationId xmlns:a16="http://schemas.microsoft.com/office/drawing/2014/main" id="{1115BC00-E078-1F2D-0413-DB2C9C1E8AA0}"/>
              </a:ext>
            </a:extLst>
          </p:cNvPr>
          <p:cNvSpPr txBox="1"/>
          <p:nvPr/>
        </p:nvSpPr>
        <p:spPr>
          <a:xfrm>
            <a:off x="409780" y="3276599"/>
            <a:ext cx="1398383" cy="28721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figure AI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2" name="TextBox 48">
            <a:extLst>
              <a:ext uri="{FF2B5EF4-FFF2-40B4-BE49-F238E27FC236}">
                <a16:creationId xmlns:a16="http://schemas.microsoft.com/office/drawing/2014/main" id="{FBA25701-4B67-8F88-426D-FDA0AAD9771A}"/>
              </a:ext>
            </a:extLst>
          </p:cNvPr>
          <p:cNvSpPr txBox="1"/>
          <p:nvPr/>
        </p:nvSpPr>
        <p:spPr>
          <a:xfrm>
            <a:off x="410760" y="3563811"/>
            <a:ext cx="1397404" cy="589216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53" name="TextBox 48">
            <a:extLst>
              <a:ext uri="{FF2B5EF4-FFF2-40B4-BE49-F238E27FC236}">
                <a16:creationId xmlns:a16="http://schemas.microsoft.com/office/drawing/2014/main" id="{2231982F-6718-CB9E-FD52-5BA694BDC0FA}"/>
              </a:ext>
            </a:extLst>
          </p:cNvPr>
          <p:cNvSpPr txBox="1"/>
          <p:nvPr/>
        </p:nvSpPr>
        <p:spPr>
          <a:xfrm>
            <a:off x="411162" y="2695575"/>
            <a:ext cx="1397002" cy="58102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sign &amp; Assessment</a:t>
            </a:r>
          </a:p>
        </p:txBody>
      </p:sp>
      <p:sp>
        <p:nvSpPr>
          <p:cNvPr id="562" name="TextBox 48">
            <a:extLst>
              <a:ext uri="{FF2B5EF4-FFF2-40B4-BE49-F238E27FC236}">
                <a16:creationId xmlns:a16="http://schemas.microsoft.com/office/drawing/2014/main" id="{7D407666-047E-CDED-82B5-14E47BAAC7C6}"/>
              </a:ext>
            </a:extLst>
          </p:cNvPr>
          <p:cNvSpPr txBox="1"/>
          <p:nvPr/>
        </p:nvSpPr>
        <p:spPr>
          <a:xfrm>
            <a:off x="411162" y="1978025"/>
            <a:ext cx="1397002" cy="71755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MO &amp; User Training</a:t>
            </a:r>
          </a:p>
        </p:txBody>
      </p:sp>
      <p:sp>
        <p:nvSpPr>
          <p:cNvPr id="54" name="TextBox 48">
            <a:extLst>
              <a:ext uri="{FF2B5EF4-FFF2-40B4-BE49-F238E27FC236}">
                <a16:creationId xmlns:a16="http://schemas.microsoft.com/office/drawing/2014/main" id="{7AE5DB78-D1E2-4F47-9BB3-A96FD5B79E98}"/>
              </a:ext>
            </a:extLst>
          </p:cNvPr>
          <p:cNvSpPr txBox="1"/>
          <p:nvPr/>
        </p:nvSpPr>
        <p:spPr>
          <a:xfrm>
            <a:off x="410761" y="4153027"/>
            <a:ext cx="1397403" cy="29264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020436"/>
                </a:solidFill>
                <a:latin typeface="Lato" panose="020F0502020204030203" pitchFamily="34" charset="0"/>
              </a:rPr>
              <a:t>Testing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7116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TtuKeIR0Umr7kn8101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x7MeoDo18AJmSosimZ4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jlh4NqE12qRju8coP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vjI5PakVKbNvhsUNJ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VxoxW3aTOWmdp8.SK7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BlctUkKCrwrChN8oed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5vGeLChZIucgsdKOBk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Xl8sS.7duyHNujYkM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vvGXGa.9lgGvgNfNw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BG01j_jPzoBI5lSJF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b0VbJtIC2uoF_DuR5Z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su3ZjkPy7jwAd_tO1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GVXS60Wde1RLRMO_tCg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SZyeM1HpxxTQcxvzK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1XI_4ARFFiTjirgSVZ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uSAOfOvmrq7M2ZJe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L_Tf23xw3nLexfH_aQZ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67WeyiUz620e5s01Dg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4J_hHrbGMzwSnt5z1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E0aKTcSjBnH8DMdHo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22MH8CtCQOlgj.7JXV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sDeOnSSfOyA7w2EQF3S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wssgK1rHeE1CJuzV2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mgyzdUfEw4XgqKhjPz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3DJi3hw1Sn5T4.Xjwo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i10CoBpQIrUXn_fLfu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BypGiboVN7YtRUSO27D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77KttcnjqKxs1oQdM5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OirVtfA9uGyOl5Xy6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MyuzEi9QksRhLf4rC_j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WgVoFluqkz2sx_yio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QvIQh5FJZNuW8zLEyyk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8o7_Hc6xWdSFDK24Z_B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A2R848ABrs_4P0nuDP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3zagMyvLyOmmMk9dL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UOsuxU3gNoDv5TZBom_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Nz3t90Zvd_qGFkEkL.4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HIQy6MvDYnrhTKBp.H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MNLKDOM_Je14bLIKil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H7ty5RC3DAme5FAPl5H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jRnXIsfJAZ3VQ7LInU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tbnBEXFz35PvxY60U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Csuhde66efCZxdMZ_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gjCDQUcnRRYJ..9Lx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apaxHqLhuxJ2WbXD21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Rs8EZt9JVSbJ3fNC2s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X.FrY1gJIh.8fgRfV_O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tvwFEwXDcttCPuIj8g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u1UFWesM6pa.50FxKB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BMl2L6Mr1TU1TMv2D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QUPLIDIk23u2O2Jaq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67KMaD1FGkNHwaVi2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O.F4AeDeSr78rvtNbn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XWPZ54kkgGhOcwfAXo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YzUVh8JhVhjzFRG7oH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ay2REV7NIkQ96mE0j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uNWa5vakOoNaWVNHv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AyvzcyCFLePyACDJIV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CosgRd2Y9mPPop6kH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m_.B23aeaHxbWIaest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YmMFLtIfncSJw4FKWrh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cgHHQtIOBpY3YEtmEA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Mm5f9r_VLS4fhoVs4V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HZ.DtmP.pxNg_tg_m3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v9nA.E0MSu.eeh4Ak8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AWVDSY5pHFMQx4R_T8I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4Q3T3U6_c3KG_dqFde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0P9oBROhd7wW81YGoh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xyIPgV5nn1X525lmy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YOaPsKgAGiFyDMmBZp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qUKDUF3jH2WZTyzcY_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bu6Z7c7cOG_ZO.YN6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TOpfdApi.zaYGGw5q7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Rv8LFg_tQMSUwdvpBm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l8eOw.YmWBx_ktoWP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XbNCVXwKnIE10Qf4Oa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N1b.D_I.2mp8ZURBu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6QdfBmRxxOMULFdRV.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zdnX5AG2npSKEXlMKn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2UeMqQWyJbEwlcaRvPo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gdfswR7yTjxnmw48hm1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C5OQK3NCQHPX5BM52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u1B2sK5XMaU3W_kM_9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GE0R0X4hqPFXdJX_MX.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fvRTlCxAqaJu8Wx6rU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3tczBfVzWRCkpGOZ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B1J6o725R.6.gpPopb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BVB72Zq2vrbvvdJVcO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Z8cSrX5ywwHR6FbI3h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LITW6OIp8sX39UoB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thaeEJ4e2tCcptgYZ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VPhlK1kqF2hRhE3j2F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1R0.vnN9Da3GAnhq5H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9Ygh9tYpzGuWQuBovl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yhh_2mXk6P7BQBTR1z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V6NppFQoaEvqQ7Appy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iUpIAYl2Imtm0ZwUb.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VVcxUd9QUaA5QGtrVg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10KFFJkaDUQe.hFYW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zFqejrc0m92BLg9UI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4OwdihnseML08QCyQM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2vvBzMSFAT_kCfQ0XB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1ozfUJ6qto_Ixa9xTg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7Odza_HuyoM7D9SQf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F_PlYN4I4npTvqCpL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UBobgUDoVBDI1vuI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ZdopR2Z1V3J8mQWe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SB7Sl1MCMzkKqSPKa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XxymuoonP8RMU_G9F1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.1ox5P__17zoEk2WuJ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zkzx.gD9crW3X_gsH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HmYs8Jlk5LD1J6PvSk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hl.oN1De_ru5MqMwp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DCrLdlGbnrH3mkdaeQ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o3T1wSyfUc_hTN4jY0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PBjD5tko.qWWey0A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tJy0HSfZz4HN21JBX4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5UrTXnHOMyFIhG0imk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ATi57_c7Lhlnq.XJH9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1Ces_GZ648PwvpeoCZ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czepzekA3uwXrf0J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y.M3xRiAfwQRdoxAZ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.ZE_uXUFpn.35J0lc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AXnhM4X32Hh76it.hn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5LTP0nS6_42cuN7q9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jSoRd5Efjs25XwUypy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9uCWfQSaO2DNOVuvj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_wW9mpG8AuhwpZEy_e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eoX.7rI_2OazcqDrd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OxGuW.jcz4N_YizAD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lCXmpWGqW3lQZ_VhQv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O51iI1iwvk2JCbkg37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IFpfiDYMJu_a2g_g1y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2cDXesYQvOqvtB6.Ad2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WPFM6gwspi5_sov2D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Q6rm5p_1P_odsOaRG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BFpmOkVLIeVF2f0s1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N38feZyIxYn_QKOoY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hGbXVbqDaUjLqV6epe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SyKN4SkRdj8Xurs6q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dUZwpV7NFdpJSbILKw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i_nRcrTNo_D6Vw8Cf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vvDTbbMj.eQjdbyrs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9d4ENekfjYRH_oAfI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4AmtXrFPKyUt__JVv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749O5nPFvRpAd7gCS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a6SjJsmlIP7aZUdd4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dEL2k3bzwfO._2ndI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ybOkFtq.ZzuWSeChY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fOsywya.aMbdzQOic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M4iYnWXQkE54fo_OBo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7vzevciIHXCFCoTfZ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ysWmTOzlybWRt.5nyd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uWa.uin.Z3mVxhd4y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pfiaYAN5BjYKBfuW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lMQYVliDpVJPIZmNC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BghduuYI4kZjrZBzL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ZysUEIf7Fr8OhZ1.U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2WvuK6VLt.9VprD_3C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Vi9vcByOiJILj16C3yG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e1wfYiJ_FmFkgwGRa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8x53ej047YYmNFdrVZ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D5VVeN2hGt.agllKf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NompwXtS6Ymo0a0G7E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ZB20_iLvzFWDF5xTy3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JUSbXdy6dV9fKFRmg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.DcSSkF639Qb.3M0VC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.DBA8ggim6WQszo2zK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LMnvqyXpizcnXSBPw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FcS2ggfFeDFMv.7KN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I1uIr.2q7EremSolPLm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6s5qqQRi8vHVufiUNDd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loO1TuX75aZnauDa3W.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OTwoqTicVLqAqiyiBl4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l5YMC8UczOa.ml3fuA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Y2GRLJdQ1ZJ1wiKLI91Q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93</TotalTime>
  <Words>753</Words>
  <Application>Microsoft Macintosh PowerPoint</Application>
  <PresentationFormat>Widescreen</PresentationFormat>
  <Paragraphs>249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 8713 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April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3</cp:revision>
  <dcterms:created xsi:type="dcterms:W3CDTF">2023-03-02T14:07:47Z</dcterms:created>
  <dcterms:modified xsi:type="dcterms:W3CDTF">2024-10-31T17:1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